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81" r:id="rId1"/>
    <p:sldMasterId id="2147484092" r:id="rId2"/>
    <p:sldMasterId id="2147484104" r:id="rId3"/>
    <p:sldMasterId id="2147484132" r:id="rId4"/>
  </p:sldMasterIdLst>
  <p:notesMasterIdLst>
    <p:notesMasterId r:id="rId18"/>
  </p:notesMasterIdLst>
  <p:handoutMasterIdLst>
    <p:handoutMasterId r:id="rId19"/>
  </p:handoutMasterIdLst>
  <p:sldIdLst>
    <p:sldId id="399" r:id="rId5"/>
    <p:sldId id="402" r:id="rId6"/>
    <p:sldId id="401" r:id="rId7"/>
    <p:sldId id="403" r:id="rId8"/>
    <p:sldId id="404" r:id="rId9"/>
    <p:sldId id="405" r:id="rId10"/>
    <p:sldId id="406" r:id="rId11"/>
    <p:sldId id="407" r:id="rId12"/>
    <p:sldId id="408" r:id="rId13"/>
    <p:sldId id="409" r:id="rId14"/>
    <p:sldId id="410" r:id="rId15"/>
    <p:sldId id="411" r:id="rId16"/>
    <p:sldId id="279" r:id="rId17"/>
  </p:sldIdLst>
  <p:sldSz cx="12192000" cy="6858000"/>
  <p:notesSz cx="7315200" cy="96012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dhwar, Nupur" initials="BN" lastIdx="5" clrIdx="0">
    <p:extLst>
      <p:ext uri="{19B8F6BF-5375-455C-9EA6-DF929625EA0E}">
        <p15:presenceInfo xmlns:p15="http://schemas.microsoft.com/office/powerpoint/2012/main" userId="S-1-5-21-776561741-1482476501-682003330-1043482" providerId="AD"/>
      </p:ext>
    </p:extLst>
  </p:cmAuthor>
  <p:cmAuthor id="2" name="Badhwar, Nupur (IN - Mumbai)" initials="BN(-M" lastIdx="1" clrIdx="1">
    <p:extLst>
      <p:ext uri="{19B8F6BF-5375-455C-9EA6-DF929625EA0E}">
        <p15:presenceInfo xmlns:p15="http://schemas.microsoft.com/office/powerpoint/2012/main" userId="Badhwar, Nupur (IN - Mumbai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A0023"/>
    <a:srgbClr val="E6E6E6"/>
    <a:srgbClr val="0070C0"/>
    <a:srgbClr val="4F81BD"/>
    <a:srgbClr val="E0F0FA"/>
    <a:srgbClr val="F2F2F2"/>
    <a:srgbClr val="012169"/>
    <a:srgbClr val="62B5E5"/>
    <a:srgbClr val="0097A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5E718B-B230-4BD1-9A24-88181BBC07D6}" v="2" dt="2022-12-07T03:57:20.7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6" autoAdjust="0"/>
    <p:restoredTop sz="94984" autoAdjust="0"/>
  </p:normalViewPr>
  <p:slideViewPr>
    <p:cSldViewPr snapToGrid="0" showGuides="1">
      <p:cViewPr varScale="1">
        <p:scale>
          <a:sx n="82" d="100"/>
          <a:sy n="82" d="100"/>
        </p:scale>
        <p:origin x="490" y="72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83822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winkle Chavda" userId="9ac4e6b38a69bc6e" providerId="LiveId" clId="{185E718B-B230-4BD1-9A24-88181BBC07D6}"/>
    <pc:docChg chg="undo custSel addSld delSld modSld sldOrd">
      <pc:chgData name="Twinkle Chavda" userId="9ac4e6b38a69bc6e" providerId="LiveId" clId="{185E718B-B230-4BD1-9A24-88181BBC07D6}" dt="2022-12-07T04:16:05.476" v="115"/>
      <pc:docMkLst>
        <pc:docMk/>
      </pc:docMkLst>
      <pc:sldChg chg="addSp modSp mod">
        <pc:chgData name="Twinkle Chavda" userId="9ac4e6b38a69bc6e" providerId="LiveId" clId="{185E718B-B230-4BD1-9A24-88181BBC07D6}" dt="2022-12-07T03:58:22.448" v="76" actId="1076"/>
        <pc:sldMkLst>
          <pc:docMk/>
          <pc:sldMk cId="1200860981" sldId="399"/>
        </pc:sldMkLst>
        <pc:spChg chg="add mod">
          <ac:chgData name="Twinkle Chavda" userId="9ac4e6b38a69bc6e" providerId="LiveId" clId="{185E718B-B230-4BD1-9A24-88181BBC07D6}" dt="2022-12-07T03:58:22.448" v="76" actId="1076"/>
          <ac:spMkLst>
            <pc:docMk/>
            <pc:sldMk cId="1200860981" sldId="399"/>
            <ac:spMk id="3" creationId="{877CECBE-AD82-4BBE-AB0E-7DFD023CB865}"/>
          </ac:spMkLst>
        </pc:spChg>
      </pc:sldChg>
      <pc:sldChg chg="ord">
        <pc:chgData name="Twinkle Chavda" userId="9ac4e6b38a69bc6e" providerId="LiveId" clId="{185E718B-B230-4BD1-9A24-88181BBC07D6}" dt="2022-12-07T04:16:05.476" v="115"/>
        <pc:sldMkLst>
          <pc:docMk/>
          <pc:sldMk cId="551255416" sldId="401"/>
        </pc:sldMkLst>
      </pc:sldChg>
      <pc:sldChg chg="addSp delSp modSp mod">
        <pc:chgData name="Twinkle Chavda" userId="9ac4e6b38a69bc6e" providerId="LiveId" clId="{185E718B-B230-4BD1-9A24-88181BBC07D6}" dt="2022-12-07T04:15:35.369" v="111" actId="1076"/>
        <pc:sldMkLst>
          <pc:docMk/>
          <pc:sldMk cId="1374627276" sldId="402"/>
        </pc:sldMkLst>
        <pc:spChg chg="mod">
          <ac:chgData name="Twinkle Chavda" userId="9ac4e6b38a69bc6e" providerId="LiveId" clId="{185E718B-B230-4BD1-9A24-88181BBC07D6}" dt="2022-12-07T04:15:33.360" v="110" actId="20577"/>
          <ac:spMkLst>
            <pc:docMk/>
            <pc:sldMk cId="1374627276" sldId="402"/>
            <ac:spMk id="4" creationId="{C661009E-C517-F486-0143-8B48CF29BC92}"/>
          </ac:spMkLst>
        </pc:spChg>
        <pc:picChg chg="add mod">
          <ac:chgData name="Twinkle Chavda" userId="9ac4e6b38a69bc6e" providerId="LiveId" clId="{185E718B-B230-4BD1-9A24-88181BBC07D6}" dt="2022-12-07T04:15:35.369" v="111" actId="1076"/>
          <ac:picMkLst>
            <pc:docMk/>
            <pc:sldMk cId="1374627276" sldId="402"/>
            <ac:picMk id="5" creationId="{51BFCBEA-98DA-B589-ECAA-953B82BF222F}"/>
          </ac:picMkLst>
        </pc:picChg>
        <pc:picChg chg="del">
          <ac:chgData name="Twinkle Chavda" userId="9ac4e6b38a69bc6e" providerId="LiveId" clId="{185E718B-B230-4BD1-9A24-88181BBC07D6}" dt="2022-12-07T04:15:16.895" v="78" actId="478"/>
          <ac:picMkLst>
            <pc:docMk/>
            <pc:sldMk cId="1374627276" sldId="402"/>
            <ac:picMk id="6" creationId="{9CF5D203-4BFF-76D7-9C56-BFD68854D883}"/>
          </ac:picMkLst>
        </pc:picChg>
      </pc:sldChg>
      <pc:sldChg chg="addSp delSp modSp new del mod ord">
        <pc:chgData name="Twinkle Chavda" userId="9ac4e6b38a69bc6e" providerId="LiveId" clId="{185E718B-B230-4BD1-9A24-88181BBC07D6}" dt="2022-12-07T03:58:43.770" v="77" actId="47"/>
        <pc:sldMkLst>
          <pc:docMk/>
          <pc:sldMk cId="4074055517" sldId="403"/>
        </pc:sldMkLst>
        <pc:spChg chg="mod">
          <ac:chgData name="Twinkle Chavda" userId="9ac4e6b38a69bc6e" providerId="LiveId" clId="{185E718B-B230-4BD1-9A24-88181BBC07D6}" dt="2022-12-07T03:50:19.208" v="1" actId="207"/>
          <ac:spMkLst>
            <pc:docMk/>
            <pc:sldMk cId="4074055517" sldId="403"/>
            <ac:spMk id="2" creationId="{E2A30E22-7811-2820-A96B-3AAC9EF460DA}"/>
          </ac:spMkLst>
        </pc:spChg>
        <pc:spChg chg="add del mod">
          <ac:chgData name="Twinkle Chavda" userId="9ac4e6b38a69bc6e" providerId="LiveId" clId="{185E718B-B230-4BD1-9A24-88181BBC07D6}" dt="2022-12-07T03:56:26.097" v="43" actId="20577"/>
          <ac:spMkLst>
            <pc:docMk/>
            <pc:sldMk cId="4074055517" sldId="403"/>
            <ac:spMk id="4" creationId="{54E5BF03-2CDA-BA75-97C4-5B1216839646}"/>
          </ac:spMkLst>
        </pc:spChg>
        <pc:spChg chg="add mod">
          <ac:chgData name="Twinkle Chavda" userId="9ac4e6b38a69bc6e" providerId="LiveId" clId="{185E718B-B230-4BD1-9A24-88181BBC07D6}" dt="2022-12-07T03:56:50.490" v="53" actId="20577"/>
          <ac:spMkLst>
            <pc:docMk/>
            <pc:sldMk cId="4074055517" sldId="403"/>
            <ac:spMk id="5" creationId="{7F4D9878-9713-EC2A-7102-AD5614F86E8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24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2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078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D_LAN_peProposalTitle"/>
          <p:cNvSpPr>
            <a:spLocks noGrp="1"/>
          </p:cNvSpPr>
          <p:nvPr>
            <p:ph type="ctrTitle" hasCustomPrompt="1"/>
          </p:nvPr>
        </p:nvSpPr>
        <p:spPr bwMode="gray">
          <a:xfrm>
            <a:off x="475255" y="5527074"/>
            <a:ext cx="5511492" cy="347587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497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 dirty="0"/>
              <a:t>Title runs here</a:t>
            </a:r>
            <a:endParaRPr lang="en-GB" noProof="0" dirty="0"/>
          </a:p>
        </p:txBody>
      </p:sp>
      <p:sp>
        <p:nvSpPr>
          <p:cNvPr id="24" name="SD_LAN_peProposal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1957" y="5874553"/>
            <a:ext cx="5512715" cy="5072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25">
                <a:solidFill>
                  <a:schemeClr val="tx1"/>
                </a:solidFill>
              </a:defRPr>
            </a:lvl1pPr>
            <a:lvl2pPr marL="336963" indent="0" algn="ctr">
              <a:buNone/>
              <a:defRPr sz="1474"/>
            </a:lvl2pPr>
            <a:lvl3pPr marL="673924" indent="0" algn="ctr">
              <a:buNone/>
              <a:defRPr sz="1326"/>
            </a:lvl3pPr>
            <a:lvl4pPr marL="1010885" indent="0" algn="ctr">
              <a:buNone/>
              <a:defRPr sz="1179"/>
            </a:lvl4pPr>
            <a:lvl5pPr marL="1347847" indent="0" algn="ctr">
              <a:buNone/>
              <a:defRPr sz="1179"/>
            </a:lvl5pPr>
            <a:lvl6pPr marL="1684809" indent="0" algn="ctr">
              <a:buNone/>
              <a:defRPr sz="1179"/>
            </a:lvl6pPr>
            <a:lvl7pPr marL="2021771" indent="0" algn="ctr">
              <a:buNone/>
              <a:defRPr sz="1179"/>
            </a:lvl7pPr>
            <a:lvl8pPr marL="2358732" indent="0" algn="ctr">
              <a:buNone/>
              <a:defRPr sz="1179"/>
            </a:lvl8pPr>
            <a:lvl9pPr marL="2695694" indent="0" algn="ctr">
              <a:buNone/>
              <a:defRPr sz="1179"/>
            </a:lvl9pPr>
          </a:lstStyle>
          <a:p>
            <a:pPr lvl="0"/>
            <a:r>
              <a:rPr lang="en-GB" dirty="0"/>
              <a:t>Subtitle here two lines max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3018063" y="711296"/>
            <a:ext cx="6157684" cy="489878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Drag picture to placeholder or click icon to add</a:t>
            </a: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2"/>
          </p:nvPr>
        </p:nvSpPr>
        <p:spPr>
          <a:xfrm>
            <a:off x="6205419" y="6476366"/>
            <a:ext cx="4896560" cy="24482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D_ART_Logo"/>
          <p:cNvSpPr/>
          <p:nvPr userDrawn="1"/>
        </p:nvSpPr>
        <p:spPr>
          <a:xfrm>
            <a:off x="502584" y="374439"/>
            <a:ext cx="2438443" cy="8523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4" dirty="0"/>
          </a:p>
        </p:txBody>
      </p:sp>
      <p:sp>
        <p:nvSpPr>
          <p:cNvPr id="11" name="SD_USR_Name" hidden="1"/>
          <p:cNvSpPr/>
          <p:nvPr userDrawn="1"/>
        </p:nvSpPr>
        <p:spPr bwMode="gray">
          <a:xfrm>
            <a:off x="11029823" y="161784"/>
            <a:ext cx="685480" cy="3821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0485" tIns="60485" rIns="60485" bIns="6048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00" b="1" noProof="0" dirty="0">
              <a:solidFill>
                <a:schemeClr val="bg1"/>
              </a:solidFill>
            </a:endParaRPr>
          </a:p>
        </p:txBody>
      </p:sp>
      <p:sp>
        <p:nvSpPr>
          <p:cNvPr id="12" name="SD_FLD_DocumentDate" hidden="1"/>
          <p:cNvSpPr/>
          <p:nvPr userDrawn="1"/>
        </p:nvSpPr>
        <p:spPr bwMode="gray">
          <a:xfrm>
            <a:off x="11010515" y="161784"/>
            <a:ext cx="685480" cy="3821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0485" tIns="60485" rIns="60485" bIns="6048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00" b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6963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50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D_LAN_peProposalTitle"/>
          <p:cNvSpPr>
            <a:spLocks noGrp="1"/>
          </p:cNvSpPr>
          <p:nvPr>
            <p:ph type="ctrTitle" hasCustomPrompt="1"/>
          </p:nvPr>
        </p:nvSpPr>
        <p:spPr bwMode="gray">
          <a:xfrm>
            <a:off x="475255" y="5527074"/>
            <a:ext cx="5511492" cy="347587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497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 dirty="0"/>
              <a:t>Title runs here</a:t>
            </a:r>
            <a:endParaRPr lang="en-GB" noProof="0" dirty="0"/>
          </a:p>
        </p:txBody>
      </p:sp>
      <p:sp>
        <p:nvSpPr>
          <p:cNvPr id="24" name="SD_LAN_peProposal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1957" y="5874553"/>
            <a:ext cx="5512715" cy="5072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25">
                <a:solidFill>
                  <a:schemeClr val="tx1"/>
                </a:solidFill>
              </a:defRPr>
            </a:lvl1pPr>
            <a:lvl2pPr marL="336963" indent="0" algn="ctr">
              <a:buNone/>
              <a:defRPr sz="1474"/>
            </a:lvl2pPr>
            <a:lvl3pPr marL="673924" indent="0" algn="ctr">
              <a:buNone/>
              <a:defRPr sz="1326"/>
            </a:lvl3pPr>
            <a:lvl4pPr marL="1010885" indent="0" algn="ctr">
              <a:buNone/>
              <a:defRPr sz="1179"/>
            </a:lvl4pPr>
            <a:lvl5pPr marL="1347847" indent="0" algn="ctr">
              <a:buNone/>
              <a:defRPr sz="1179"/>
            </a:lvl5pPr>
            <a:lvl6pPr marL="1684809" indent="0" algn="ctr">
              <a:buNone/>
              <a:defRPr sz="1179"/>
            </a:lvl6pPr>
            <a:lvl7pPr marL="2021771" indent="0" algn="ctr">
              <a:buNone/>
              <a:defRPr sz="1179"/>
            </a:lvl7pPr>
            <a:lvl8pPr marL="2358732" indent="0" algn="ctr">
              <a:buNone/>
              <a:defRPr sz="1179"/>
            </a:lvl8pPr>
            <a:lvl9pPr marL="2695694" indent="0" algn="ctr">
              <a:buNone/>
              <a:defRPr sz="1179"/>
            </a:lvl9pPr>
          </a:lstStyle>
          <a:p>
            <a:pPr lvl="0"/>
            <a:r>
              <a:rPr lang="en-GB" dirty="0"/>
              <a:t>Subtitle here two lines max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3018063" y="711296"/>
            <a:ext cx="6157684" cy="489878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Drag picture to placeholder or click icon to add</a:t>
            </a:r>
          </a:p>
        </p:txBody>
      </p:sp>
      <p:sp>
        <p:nvSpPr>
          <p:cNvPr id="2" name="Footer Placeholder 1" hidden="1"/>
          <p:cNvSpPr>
            <a:spLocks noGrp="1"/>
          </p:cNvSpPr>
          <p:nvPr>
            <p:ph type="ftr" sz="quarter" idx="12"/>
          </p:nvPr>
        </p:nvSpPr>
        <p:spPr>
          <a:xfrm>
            <a:off x="6205419" y="6476366"/>
            <a:ext cx="4896560" cy="24482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SD_ART_Logo"/>
          <p:cNvSpPr/>
          <p:nvPr userDrawn="1"/>
        </p:nvSpPr>
        <p:spPr>
          <a:xfrm>
            <a:off x="502584" y="374439"/>
            <a:ext cx="2438443" cy="8523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4" dirty="0"/>
          </a:p>
        </p:txBody>
      </p:sp>
      <p:sp>
        <p:nvSpPr>
          <p:cNvPr id="11" name="SD_USR_Name" hidden="1"/>
          <p:cNvSpPr/>
          <p:nvPr userDrawn="1"/>
        </p:nvSpPr>
        <p:spPr bwMode="gray">
          <a:xfrm>
            <a:off x="11029823" y="161784"/>
            <a:ext cx="685480" cy="3821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0485" tIns="60485" rIns="60485" bIns="6048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00" b="1" noProof="0" dirty="0">
              <a:solidFill>
                <a:schemeClr val="bg1"/>
              </a:solidFill>
            </a:endParaRPr>
          </a:p>
        </p:txBody>
      </p:sp>
      <p:sp>
        <p:nvSpPr>
          <p:cNvPr id="12" name="SD_FLD_DocumentDate" hidden="1"/>
          <p:cNvSpPr/>
          <p:nvPr userDrawn="1"/>
        </p:nvSpPr>
        <p:spPr bwMode="gray">
          <a:xfrm>
            <a:off x="11010515" y="161784"/>
            <a:ext cx="685480" cy="3821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0485" tIns="60485" rIns="60485" bIns="6048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00" b="1" noProof="0" dirty="0">
              <a:solidFill>
                <a:schemeClr val="bg1"/>
              </a:solidFill>
            </a:endParaRPr>
          </a:p>
        </p:txBody>
      </p:sp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23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25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46837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50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30060" y="1844069"/>
            <a:ext cx="8354987" cy="1592403"/>
          </a:xfrm>
        </p:spPr>
        <p:txBody>
          <a:bodyPr anchor="b"/>
          <a:lstStyle>
            <a:lvl1pPr>
              <a:lnSpc>
                <a:spcPct val="95000"/>
              </a:lnSpc>
              <a:defRPr sz="2654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165" y="1534626"/>
            <a:ext cx="3152120" cy="3152203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3508400" y="2667467"/>
            <a:ext cx="85670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508400" y="3755372"/>
            <a:ext cx="85670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2079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1"/>
            <a:ext cx="11201795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4203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203" y="1666262"/>
            <a:ext cx="11201795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704930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9"/>
            <a:ext cx="1120179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4203" y="317505"/>
            <a:ext cx="11201795" cy="3340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203" y="1666262"/>
            <a:ext cx="11201795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179"/>
            </a:lvl1pPr>
            <a:lvl2pPr>
              <a:defRPr sz="1179"/>
            </a:lvl2pPr>
            <a:lvl3pPr>
              <a:defRPr sz="1179"/>
            </a:lvl3pPr>
            <a:lvl4pPr>
              <a:defRPr sz="1179"/>
            </a:lvl4pPr>
            <a:lvl5pPr>
              <a:defRPr sz="1179"/>
            </a:lvl5pPr>
            <a:lvl6pPr marL="262672" indent="0">
              <a:buNone/>
              <a:defRPr sz="1179"/>
            </a:lvl6pPr>
            <a:lvl7pPr>
              <a:defRPr sz="1179"/>
            </a:lvl7pPr>
            <a:lvl8pPr>
              <a:defRPr sz="1179"/>
            </a:lvl8pPr>
            <a:lvl9pPr>
              <a:defRPr sz="1179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563710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4265" y="317506"/>
            <a:ext cx="11201727" cy="334095"/>
          </a:xfrm>
        </p:spPr>
        <p:txBody>
          <a:bodyPr/>
          <a:lstStyle/>
          <a:p>
            <a:r>
              <a:rPr lang="en-GB" dirty="0"/>
              <a:t>Click to add title</a:t>
            </a:r>
            <a:endParaRPr lang="en-GB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3955" y="1700216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7988" y="1700216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5971" y="1700219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3955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5971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7988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94203" y="651609"/>
            <a:ext cx="1120179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0313877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1"/>
            <a:ext cx="11201795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4203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8139724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203" y="317508"/>
            <a:ext cx="11201795" cy="692150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716134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7051" y="4211959"/>
            <a:ext cx="8503539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425"/>
              </a:spcAft>
              <a:defRPr sz="638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52" y="4535909"/>
            <a:ext cx="2012853" cy="1401498"/>
          </a:xfrm>
        </p:spPr>
        <p:txBody>
          <a:bodyPr anchor="ctr" anchorCtr="0"/>
          <a:lstStyle>
            <a:lvl1pPr algn="ctr">
              <a:defRPr sz="638"/>
            </a:lvl1pPr>
          </a:lstStyle>
          <a:p>
            <a:r>
              <a:rPr lang="en-GB" sz="638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4" y="6018032"/>
            <a:ext cx="2012852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674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6013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8" y="1700214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2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107" algn="r"/>
              </a:tabLst>
              <a:defRPr/>
            </a:lvl1pPr>
            <a:lvl2pPr>
              <a:tabLst>
                <a:tab pos="5029107" algn="r"/>
              </a:tabLst>
              <a:defRPr/>
            </a:lvl2pPr>
            <a:lvl3pPr>
              <a:tabLst>
                <a:tab pos="5029107" algn="r"/>
              </a:tabLst>
              <a:defRPr/>
            </a:lvl3pPr>
            <a:lvl4pPr>
              <a:tabLst>
                <a:tab pos="5029107" algn="r"/>
              </a:tabLst>
              <a:defRPr/>
            </a:lvl4pPr>
            <a:lvl5pPr>
              <a:tabLst>
                <a:tab pos="502910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00763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49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49">
                <a:solidFill>
                  <a:schemeClr val="bg1"/>
                </a:solidFill>
              </a:defRPr>
            </a:lvl1pPr>
            <a:lvl2pPr marL="609402" indent="0">
              <a:buNone/>
              <a:defRPr sz="2666">
                <a:solidFill>
                  <a:schemeClr val="tx1">
                    <a:tint val="75000"/>
                  </a:schemeClr>
                </a:solidFill>
              </a:defRPr>
            </a:lvl2pPr>
            <a:lvl3pPr marL="1218804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3pPr>
            <a:lvl4pPr marL="1828205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4pPr>
            <a:lvl5pPr marL="2437607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5pPr>
            <a:lvl6pPr marL="3047010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6pPr>
            <a:lvl7pPr marL="3656412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7pPr>
            <a:lvl8pPr marL="4265813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8pPr>
            <a:lvl9pPr marL="4875215" indent="0">
              <a:buNone/>
              <a:defRPr sz="21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6" y="6477002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409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30060" y="1844069"/>
            <a:ext cx="8354987" cy="1592403"/>
          </a:xfrm>
        </p:spPr>
        <p:txBody>
          <a:bodyPr anchor="b"/>
          <a:lstStyle>
            <a:lvl1pPr>
              <a:lnSpc>
                <a:spcPct val="95000"/>
              </a:lnSpc>
              <a:defRPr sz="2654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165" y="1534626"/>
            <a:ext cx="3152120" cy="3152203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3508400" y="2667467"/>
            <a:ext cx="85670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508400" y="3755372"/>
            <a:ext cx="856702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37967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35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1516">
              <a:spcBef>
                <a:spcPts val="91"/>
              </a:spcBef>
            </a:pPr>
            <a:endParaRPr lang="fr-FR" spc="-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D48141-13D9-4117-9C8D-F62784B4F555}" type="datetime1">
              <a:rPr lang="en-US" smtClean="0"/>
              <a:t>2/24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35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23033">
              <a:spcBef>
                <a:spcPts val="91"/>
              </a:spcBef>
            </a:pPr>
            <a:fld id="{81D60167-4931-47E6-BA6A-407CBD079E47}" type="slidenum">
              <a:rPr lang="en-IN" spc="-5" smtClean="0"/>
              <a:pPr marL="23033">
                <a:spcBef>
                  <a:spcPts val="91"/>
                </a:spcBef>
              </a:pPr>
              <a:t>‹#›</a:t>
            </a:fld>
            <a:endParaRPr lang="en-IN" spc="-5" dirty="0"/>
          </a:p>
        </p:txBody>
      </p:sp>
    </p:spTree>
    <p:extLst>
      <p:ext uri="{BB962C8B-B14F-4D97-AF65-F5344CB8AC3E}">
        <p14:creationId xmlns:p14="http://schemas.microsoft.com/office/powerpoint/2010/main" val="8100349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922991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699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3" y="1665292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205642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Version 10.0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discussion: ver-7 13th Nov 2019 15:45 hour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45975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1"/>
            <a:ext cx="11201795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4203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203" y="1666262"/>
            <a:ext cx="11201795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877471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9"/>
            <a:ext cx="1120179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4203" y="317505"/>
            <a:ext cx="11201795" cy="3340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203" y="1666262"/>
            <a:ext cx="11201795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179"/>
            </a:lvl1pPr>
            <a:lvl2pPr>
              <a:defRPr sz="1179"/>
            </a:lvl2pPr>
            <a:lvl3pPr>
              <a:defRPr sz="1179"/>
            </a:lvl3pPr>
            <a:lvl4pPr>
              <a:defRPr sz="1179"/>
            </a:lvl4pPr>
            <a:lvl5pPr>
              <a:defRPr sz="1179"/>
            </a:lvl5pPr>
            <a:lvl6pPr marL="262672" indent="0">
              <a:buNone/>
              <a:defRPr sz="1179"/>
            </a:lvl6pPr>
            <a:lvl7pPr>
              <a:defRPr sz="1179"/>
            </a:lvl7pPr>
            <a:lvl8pPr>
              <a:defRPr sz="1179"/>
            </a:lvl8pPr>
            <a:lvl9pPr>
              <a:defRPr sz="1179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236257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4265" y="317506"/>
            <a:ext cx="11201727" cy="334095"/>
          </a:xfrm>
        </p:spPr>
        <p:txBody>
          <a:bodyPr/>
          <a:lstStyle/>
          <a:p>
            <a:r>
              <a:rPr lang="en-GB" dirty="0"/>
              <a:t>Click to add title</a:t>
            </a:r>
            <a:endParaRPr lang="en-GB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3955" y="1700216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7988" y="1700216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5971" y="1700219"/>
            <a:ext cx="3655384" cy="1971674"/>
          </a:xfrm>
        </p:spPr>
        <p:txBody>
          <a:bodyPr/>
          <a:lstStyle/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3955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5971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7988" y="3832226"/>
            <a:ext cx="3655384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94203" y="651609"/>
            <a:ext cx="1120179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1320948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203" y="651601"/>
            <a:ext cx="11201795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6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4203" y="317504"/>
            <a:ext cx="1120179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/>
            </a:lvl1pPr>
          </a:lstStyle>
          <a:p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9262544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203" y="317508"/>
            <a:ext cx="11201795" cy="692150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863077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7051" y="4211959"/>
            <a:ext cx="8503539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425"/>
              </a:spcAft>
              <a:defRPr sz="638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52" y="4535909"/>
            <a:ext cx="2012853" cy="1401498"/>
          </a:xfrm>
        </p:spPr>
        <p:txBody>
          <a:bodyPr anchor="ctr" anchorCtr="0"/>
          <a:lstStyle>
            <a:lvl1pPr algn="ctr">
              <a:defRPr sz="638"/>
            </a:lvl1pPr>
          </a:lstStyle>
          <a:p>
            <a:r>
              <a:rPr lang="en-GB" sz="638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4" y="6018032"/>
            <a:ext cx="2012852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674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64001"/>
              <a:endParaRPr lang="en-GB" sz="1843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9578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8" y="1700214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2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107" algn="r"/>
              </a:tabLst>
              <a:defRPr/>
            </a:lvl1pPr>
            <a:lvl2pPr>
              <a:tabLst>
                <a:tab pos="5029107" algn="r"/>
              </a:tabLst>
              <a:defRPr/>
            </a:lvl2pPr>
            <a:lvl3pPr>
              <a:tabLst>
                <a:tab pos="5029107" algn="r"/>
              </a:tabLst>
              <a:defRPr/>
            </a:lvl3pPr>
            <a:lvl4pPr>
              <a:tabLst>
                <a:tab pos="5029107" algn="r"/>
              </a:tabLst>
              <a:defRPr/>
            </a:lvl4pPr>
            <a:lvl5pPr>
              <a:tabLst>
                <a:tab pos="5029107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850674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1" y="1594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4203" y="317508"/>
            <a:ext cx="1120179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4203" y="1665289"/>
            <a:ext cx="1120179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8022" y="6476368"/>
            <a:ext cx="307973" cy="98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42"/>
              </a:spcBef>
              <a:buSzPct val="100000"/>
              <a:buFont typeface="Arial"/>
              <a:buNone/>
            </a:pPr>
            <a:fld id="{C58DF478-B544-4ED8-9ED4-6A2648E2D233}" type="slidenum">
              <a:rPr lang="en-US" sz="479" noProof="0">
                <a:solidFill>
                  <a:schemeClr val="tx1"/>
                </a:solidFill>
              </a:rPr>
              <a:pPr marL="0" indent="0" algn="r">
                <a:spcBef>
                  <a:spcPts val="442"/>
                </a:spcBef>
                <a:buSzPct val="100000"/>
                <a:buFont typeface="Arial"/>
                <a:buNone/>
              </a:pPr>
              <a:t>‹#›</a:t>
            </a:fld>
            <a:endParaRPr lang="en-US" sz="47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37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1" r:id="rId9"/>
  </p:sldLayoutIdLst>
  <p:transition>
    <p:fade/>
  </p:transition>
  <p:hf hdr="0" ftr="0" dt="0"/>
  <p:txStyles>
    <p:titleStyle>
      <a:lvl1pPr algn="l" defTabSz="673928" rtl="0" eaLnBrk="1" latinLnBrk="0" hangingPunct="1">
        <a:spcBef>
          <a:spcPct val="0"/>
        </a:spcBef>
        <a:buNone/>
        <a:defRPr sz="13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73928" rtl="0" eaLnBrk="1" latinLnBrk="0" hangingPunct="1">
        <a:spcBef>
          <a:spcPts val="0"/>
        </a:spcBef>
        <a:spcAft>
          <a:spcPts val="737"/>
        </a:spcAft>
        <a:buSzPct val="100000"/>
        <a:buFont typeface="Arial" panose="020B0604020202020204" pitchFamily="34" charset="0"/>
        <a:buChar char="​"/>
        <a:defRPr sz="68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Arial" panose="020B0604020202020204" pitchFamily="34" charset="0"/>
        <a:buChar char="​"/>
        <a:defRPr lang="en-US" sz="68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30009" indent="-130009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Arial" panose="020B0604020202020204" pitchFamily="34" charset="0"/>
        <a:buChar char="•"/>
        <a:defRPr lang="en-US" sz="68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2673" indent="-130009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Verdana" panose="020B0604030504040204" pitchFamily="34" charset="0"/>
        <a:buChar char="−"/>
        <a:defRPr lang="en-US" sz="68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392682" indent="-130009" algn="l" defTabSz="588517" rtl="0" eaLnBrk="1" latinLnBrk="0" hangingPunct="1">
        <a:spcBef>
          <a:spcPts val="0"/>
        </a:spcBef>
        <a:spcAft>
          <a:spcPts val="737"/>
        </a:spcAft>
        <a:buClrTx/>
        <a:buSzPct val="100000"/>
        <a:buFont typeface="Verdana" panose="020B0604030504040204" pitchFamily="34" charset="0"/>
        <a:buChar char="−"/>
        <a:tabLst/>
        <a:defRPr lang="en-US" sz="68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>
          <a:solidFill>
            <a:schemeClr val="tx1"/>
          </a:solidFill>
          <a:latin typeface="+mn-lt"/>
          <a:ea typeface="+mn-ea"/>
          <a:cs typeface="+mn-cs"/>
        </a:defRPr>
      </a:lvl7pPr>
      <a:lvl8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1pPr>
      <a:lvl2pPr marL="336965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2pPr>
      <a:lvl3pPr marL="673928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3pPr>
      <a:lvl4pPr marL="1010892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4pPr>
      <a:lvl5pPr marL="1347855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5pPr>
      <a:lvl6pPr marL="1684820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6pPr>
      <a:lvl7pPr marL="2021783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7pPr>
      <a:lvl8pPr marL="2358747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8pPr>
      <a:lvl9pPr marL="2695711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99">
          <p15:clr>
            <a:srgbClr val="F26B43"/>
          </p15:clr>
        </p15:guide>
        <p15:guide id="2" orient="horz" pos="2381">
          <p15:clr>
            <a:srgbClr val="F26B43"/>
          </p15:clr>
        </p15:guide>
        <p15:guide id="3" orient="horz" pos="4431">
          <p15:clr>
            <a:srgbClr val="F26B43"/>
          </p15:clr>
        </p15:guide>
        <p15:guide id="4" pos="457">
          <p15:clr>
            <a:srgbClr val="F26B43"/>
          </p15:clr>
        </p15:guide>
        <p15:guide id="5" pos="10829">
          <p15:clr>
            <a:srgbClr val="F26B43"/>
          </p15:clr>
        </p15:guide>
        <p15:guide id="6" orient="horz" pos="1180">
          <p15:clr>
            <a:srgbClr val="F26B43"/>
          </p15:clr>
        </p15:guide>
        <p15:guide id="7" orient="horz" pos="220">
          <p15:clr>
            <a:srgbClr val="F26B43"/>
          </p15:clr>
        </p15:guide>
        <p15:guide id="8" orient="horz" pos="4497">
          <p15:clr>
            <a:srgbClr val="F26B43"/>
          </p15:clr>
        </p15:guide>
        <p15:guide id="10" pos="7309">
          <p15:clr>
            <a:srgbClr val="F26B43"/>
          </p15:clr>
        </p15:guide>
        <p15:guide id="11" orient="horz" pos="260">
          <p15:clr>
            <a:srgbClr val="F26B43"/>
          </p15:clr>
        </p15:guide>
        <p15:guide id="12" pos="2028">
          <p15:clr>
            <a:srgbClr val="F26B43"/>
          </p15:clr>
        </p15:guide>
        <p15:guide id="13" pos="2217">
          <p15:clr>
            <a:srgbClr val="F26B43"/>
          </p15:clr>
        </p15:guide>
        <p15:guide id="14" pos="3789">
          <p15:clr>
            <a:srgbClr val="F26B43"/>
          </p15:clr>
        </p15:guide>
        <p15:guide id="15" pos="3977">
          <p15:clr>
            <a:srgbClr val="F26B43"/>
          </p15:clr>
        </p15:guide>
        <p15:guide id="16" pos="9068">
          <p15:clr>
            <a:srgbClr val="F26B43"/>
          </p15:clr>
        </p15:guide>
        <p15:guide id="17" pos="5541">
          <p15:clr>
            <a:srgbClr val="F26B43"/>
          </p15:clr>
        </p15:guide>
        <p15:guide id="18" pos="5739">
          <p15:clr>
            <a:srgbClr val="F26B43"/>
          </p15:clr>
        </p15:guide>
        <p15:guide id="19" pos="5645">
          <p15:clr>
            <a:srgbClr val="F26B43"/>
          </p15:clr>
        </p15:guide>
        <p15:guide id="20" pos="9260">
          <p15:clr>
            <a:srgbClr val="F26B43"/>
          </p15:clr>
        </p15:guide>
        <p15:guide id="21" orient="horz" pos="1157">
          <p15:clr>
            <a:srgbClr val="F26B43"/>
          </p15:clr>
        </p15:guide>
        <p15:guide id="22" orient="horz" pos="70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2121" y="1594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4203" y="317508"/>
            <a:ext cx="1120179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4203" y="1665289"/>
            <a:ext cx="1120179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8022" y="6476368"/>
            <a:ext cx="307973" cy="98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42"/>
              </a:spcBef>
              <a:buSzPct val="100000"/>
              <a:buFont typeface="Arial"/>
              <a:buNone/>
            </a:pPr>
            <a:fld id="{C58DF478-B544-4ED8-9ED4-6A2648E2D233}" type="slidenum">
              <a:rPr lang="en-US" sz="479" noProof="0">
                <a:solidFill>
                  <a:schemeClr val="tx1"/>
                </a:solidFill>
              </a:rPr>
              <a:pPr marL="0" indent="0" algn="r">
                <a:spcBef>
                  <a:spcPts val="442"/>
                </a:spcBef>
                <a:buSzPct val="100000"/>
                <a:buFont typeface="Arial"/>
                <a:buNone/>
              </a:pPr>
              <a:t>‹#›</a:t>
            </a:fld>
            <a:endParaRPr lang="en-US" sz="479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524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</p:sldLayoutIdLst>
  <p:transition>
    <p:fade/>
  </p:transition>
  <p:hf hdr="0" ftr="0" dt="0"/>
  <p:txStyles>
    <p:titleStyle>
      <a:lvl1pPr algn="l" defTabSz="673928" rtl="0" eaLnBrk="1" latinLnBrk="0" hangingPunct="1">
        <a:spcBef>
          <a:spcPct val="0"/>
        </a:spcBef>
        <a:buNone/>
        <a:defRPr sz="13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73928" rtl="0" eaLnBrk="1" latinLnBrk="0" hangingPunct="1">
        <a:spcBef>
          <a:spcPts val="0"/>
        </a:spcBef>
        <a:spcAft>
          <a:spcPts val="737"/>
        </a:spcAft>
        <a:buSzPct val="100000"/>
        <a:buFont typeface="Arial" panose="020B0604020202020204" pitchFamily="34" charset="0"/>
        <a:buChar char="​"/>
        <a:defRPr sz="68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Arial" panose="020B0604020202020204" pitchFamily="34" charset="0"/>
        <a:buChar char="​"/>
        <a:defRPr lang="en-US" sz="68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30009" indent="-130009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Arial" panose="020B0604020202020204" pitchFamily="34" charset="0"/>
        <a:buChar char="•"/>
        <a:defRPr lang="en-US" sz="68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262673" indent="-130009" algn="l" defTabSz="673928" rtl="0" eaLnBrk="1" latinLnBrk="0" hangingPunct="1">
        <a:spcBef>
          <a:spcPts val="0"/>
        </a:spcBef>
        <a:spcAft>
          <a:spcPts val="737"/>
        </a:spcAft>
        <a:buClrTx/>
        <a:buSzPct val="100000"/>
        <a:buFont typeface="Verdana" panose="020B0604030504040204" pitchFamily="34" charset="0"/>
        <a:buChar char="−"/>
        <a:defRPr lang="en-US" sz="68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392682" indent="-130009" algn="l" defTabSz="588517" rtl="0" eaLnBrk="1" latinLnBrk="0" hangingPunct="1">
        <a:spcBef>
          <a:spcPts val="0"/>
        </a:spcBef>
        <a:spcAft>
          <a:spcPts val="737"/>
        </a:spcAft>
        <a:buClrTx/>
        <a:buSzPct val="100000"/>
        <a:buFont typeface="Verdana" panose="020B0604030504040204" pitchFamily="34" charset="0"/>
        <a:buChar char="−"/>
        <a:tabLst/>
        <a:defRPr lang="en-US" sz="68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>
          <a:solidFill>
            <a:schemeClr val="tx1"/>
          </a:solidFill>
          <a:latin typeface="+mn-lt"/>
          <a:ea typeface="+mn-ea"/>
          <a:cs typeface="+mn-cs"/>
        </a:defRPr>
      </a:lvl7pPr>
      <a:lvl8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2682" indent="-130009" algn="l" defTabSz="673928" rtl="0" eaLnBrk="1" latinLnBrk="0" hangingPunct="1">
        <a:spcBef>
          <a:spcPts val="0"/>
        </a:spcBef>
        <a:spcAft>
          <a:spcPts val="737"/>
        </a:spcAft>
        <a:buFont typeface="Verdana" panose="020B0604030504040204" pitchFamily="34" charset="0"/>
        <a:buChar char="−"/>
        <a:defRPr sz="68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1pPr>
      <a:lvl2pPr marL="336965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2pPr>
      <a:lvl3pPr marL="673928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3pPr>
      <a:lvl4pPr marL="1010892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4pPr>
      <a:lvl5pPr marL="1347855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5pPr>
      <a:lvl6pPr marL="1684820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6pPr>
      <a:lvl7pPr marL="2021783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7pPr>
      <a:lvl8pPr marL="2358747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8pPr>
      <a:lvl9pPr marL="2695711" algn="l" defTabSz="673928" rtl="0" eaLnBrk="1" latinLnBrk="0" hangingPunct="1">
        <a:defRPr sz="132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99">
          <p15:clr>
            <a:srgbClr val="F26B43"/>
          </p15:clr>
        </p15:guide>
        <p15:guide id="2" orient="horz" pos="2381">
          <p15:clr>
            <a:srgbClr val="F26B43"/>
          </p15:clr>
        </p15:guide>
        <p15:guide id="3" orient="horz" pos="4431">
          <p15:clr>
            <a:srgbClr val="F26B43"/>
          </p15:clr>
        </p15:guide>
        <p15:guide id="4" pos="457">
          <p15:clr>
            <a:srgbClr val="F26B43"/>
          </p15:clr>
        </p15:guide>
        <p15:guide id="5" pos="10829">
          <p15:clr>
            <a:srgbClr val="F26B43"/>
          </p15:clr>
        </p15:guide>
        <p15:guide id="6" orient="horz" pos="1180">
          <p15:clr>
            <a:srgbClr val="F26B43"/>
          </p15:clr>
        </p15:guide>
        <p15:guide id="7" orient="horz" pos="220">
          <p15:clr>
            <a:srgbClr val="F26B43"/>
          </p15:clr>
        </p15:guide>
        <p15:guide id="8" orient="horz" pos="4497">
          <p15:clr>
            <a:srgbClr val="F26B43"/>
          </p15:clr>
        </p15:guide>
        <p15:guide id="10" pos="7309">
          <p15:clr>
            <a:srgbClr val="F26B43"/>
          </p15:clr>
        </p15:guide>
        <p15:guide id="11" orient="horz" pos="260">
          <p15:clr>
            <a:srgbClr val="F26B43"/>
          </p15:clr>
        </p15:guide>
        <p15:guide id="12" pos="2028">
          <p15:clr>
            <a:srgbClr val="F26B43"/>
          </p15:clr>
        </p15:guide>
        <p15:guide id="13" pos="2217">
          <p15:clr>
            <a:srgbClr val="F26B43"/>
          </p15:clr>
        </p15:guide>
        <p15:guide id="14" pos="3789">
          <p15:clr>
            <a:srgbClr val="F26B43"/>
          </p15:clr>
        </p15:guide>
        <p15:guide id="15" pos="3977">
          <p15:clr>
            <a:srgbClr val="F26B43"/>
          </p15:clr>
        </p15:guide>
        <p15:guide id="16" pos="9068">
          <p15:clr>
            <a:srgbClr val="F26B43"/>
          </p15:clr>
        </p15:guide>
        <p15:guide id="17" pos="5541">
          <p15:clr>
            <a:srgbClr val="F26B43"/>
          </p15:clr>
        </p15:guide>
        <p15:guide id="18" pos="5739">
          <p15:clr>
            <a:srgbClr val="F26B43"/>
          </p15:clr>
        </p15:guide>
        <p15:guide id="19" pos="5645">
          <p15:clr>
            <a:srgbClr val="F26B43"/>
          </p15:clr>
        </p15:guide>
        <p15:guide id="20" pos="9260">
          <p15:clr>
            <a:srgbClr val="F26B43"/>
          </p15:clr>
        </p15:guide>
        <p15:guide id="21" orient="horz" pos="1157">
          <p15:clr>
            <a:srgbClr val="F26B43"/>
          </p15:clr>
        </p15:guide>
        <p15:guide id="22" orient="horz" pos="7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90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4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35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35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79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5" r:id="rId1"/>
  </p:sldLayoutIdLst>
  <p:transition>
    <p:fade/>
  </p:transition>
  <p:hf hdr="0" ftr="0" dt="0"/>
  <p:txStyles>
    <p:titleStyle>
      <a:lvl1pPr algn="l" defTabSz="914417" rtl="0" eaLnBrk="1" latinLnBrk="0" hangingPunct="1">
        <a:spcBef>
          <a:spcPct val="0"/>
        </a:spcBef>
        <a:buNone/>
        <a:defRPr sz="1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17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90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907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3" indent="-176403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7" indent="-176403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10" indent="-176403" algn="l" defTabSz="79852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7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6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5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4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2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1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9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443">
          <p15:clr>
            <a:srgbClr val="F26B43"/>
          </p15:clr>
        </p15:guide>
        <p15:guide id="4" pos="277">
          <p15:clr>
            <a:srgbClr val="F26B43"/>
          </p15:clr>
        </p15:guide>
        <p15:guide id="5" pos="6464">
          <p15:clr>
            <a:srgbClr val="F26B43"/>
          </p15:clr>
        </p15:guide>
        <p15:guide id="11" orient="horz" pos="219">
          <p15:clr>
            <a:srgbClr val="F26B43"/>
          </p15:clr>
        </p15:guide>
        <p15:guide id="21" orient="horz" pos="11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90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82377" y="6477001"/>
            <a:ext cx="307974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35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35" noProof="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7555" y="123543"/>
            <a:ext cx="2121261" cy="38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09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</p:sldLayoutIdLst>
  <p:transition>
    <p:fade/>
  </p:transition>
  <p:hf hdr="0" dt="0"/>
  <p:txStyles>
    <p:titleStyle>
      <a:lvl1pPr algn="l" defTabSz="914417" rtl="0" eaLnBrk="1" latinLnBrk="0" hangingPunct="1">
        <a:spcBef>
          <a:spcPct val="0"/>
        </a:spcBef>
        <a:buNone/>
        <a:defRPr sz="1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17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90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907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3" indent="-176403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7" indent="-176403" algn="l" defTabSz="91441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10" indent="-176403" algn="l" defTabSz="79852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10" indent="-176403" algn="l" defTabSz="91441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7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6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5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4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2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1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9" algn="l" defTabSz="9144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443">
          <p15:clr>
            <a:srgbClr val="F26B43"/>
          </p15:clr>
        </p15:guide>
        <p15:guide id="4" pos="277">
          <p15:clr>
            <a:srgbClr val="F26B43"/>
          </p15:clr>
        </p15:guide>
        <p15:guide id="5" pos="6464">
          <p15:clr>
            <a:srgbClr val="F26B43"/>
          </p15:clr>
        </p15:guide>
        <p15:guide id="11" orient="horz" pos="219">
          <p15:clr>
            <a:srgbClr val="F26B43"/>
          </p15:clr>
        </p15:guide>
        <p15:guide id="21" orient="horz" pos="11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archive.ics.uci.edu/ml/datasets/Hungarian+Chickenpox+Cases" TargetMode="Externa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7601" y="1095380"/>
            <a:ext cx="9651999" cy="520060"/>
          </a:xfrm>
        </p:spPr>
        <p:txBody>
          <a:bodyPr/>
          <a:lstStyle/>
          <a:p>
            <a:pPr algn="ctr"/>
            <a:r>
              <a:rPr lang="en-US" sz="3200" dirty="0"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Introduction</a:t>
            </a:r>
            <a:endParaRPr lang="en-IN" sz="32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Freeform 97"/>
          <p:cNvSpPr>
            <a:spLocks/>
          </p:cNvSpPr>
          <p:nvPr/>
        </p:nvSpPr>
        <p:spPr bwMode="auto">
          <a:xfrm rot="10800000">
            <a:off x="283634" y="6620512"/>
            <a:ext cx="833967" cy="212127"/>
          </a:xfrm>
          <a:custGeom>
            <a:avLst/>
            <a:gdLst/>
            <a:ahLst/>
            <a:cxnLst>
              <a:cxn ang="0">
                <a:pos x="82" y="9"/>
              </a:cxn>
              <a:cxn ang="0">
                <a:pos x="127" y="27"/>
              </a:cxn>
              <a:cxn ang="0">
                <a:pos x="151" y="50"/>
              </a:cxn>
              <a:cxn ang="0">
                <a:pos x="0" y="50"/>
              </a:cxn>
              <a:cxn ang="0">
                <a:pos x="35" y="18"/>
              </a:cxn>
              <a:cxn ang="0">
                <a:pos x="82" y="9"/>
              </a:cxn>
            </a:cxnLst>
            <a:rect l="0" t="0" r="r" b="b"/>
            <a:pathLst>
              <a:path w="151" h="50">
                <a:moveTo>
                  <a:pt x="82" y="9"/>
                </a:moveTo>
                <a:cubicBezTo>
                  <a:pt x="98" y="4"/>
                  <a:pt x="113" y="9"/>
                  <a:pt x="127" y="27"/>
                </a:cubicBezTo>
                <a:cubicBezTo>
                  <a:pt x="139" y="26"/>
                  <a:pt x="147" y="33"/>
                  <a:pt x="151" y="50"/>
                </a:cubicBezTo>
                <a:cubicBezTo>
                  <a:pt x="0" y="50"/>
                  <a:pt x="0" y="50"/>
                  <a:pt x="0" y="50"/>
                </a:cubicBezTo>
                <a:cubicBezTo>
                  <a:pt x="3" y="33"/>
                  <a:pt x="15" y="22"/>
                  <a:pt x="35" y="18"/>
                </a:cubicBezTo>
                <a:cubicBezTo>
                  <a:pt x="49" y="3"/>
                  <a:pt x="65" y="0"/>
                  <a:pt x="82" y="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3754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A01C72-D551-DB5C-9E10-BEA56D567884}"/>
              </a:ext>
            </a:extLst>
          </p:cNvPr>
          <p:cNvSpPr txBox="1"/>
          <p:nvPr/>
        </p:nvSpPr>
        <p:spPr>
          <a:xfrm>
            <a:off x="985520" y="1971040"/>
            <a:ext cx="10505440" cy="47397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25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13131"/>
                </a:solidFill>
              </a:rPr>
              <a:t>There are </a:t>
            </a:r>
            <a:r>
              <a:rPr lang="en-US" sz="20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36,000 to 45,000 cases  each year in Hungary.</a:t>
            </a:r>
          </a:p>
          <a:p>
            <a:pPr marL="285750" indent="-285750">
              <a:lnSpc>
                <a:spcPct val="25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62626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We intend to examine </a:t>
            </a:r>
            <a:r>
              <a:rPr lang="en-US" sz="20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the Chickenpox dataset  and make forecast for the next period.</a:t>
            </a:r>
          </a:p>
          <a:p>
            <a:pPr marL="285750" indent="-285750">
              <a:lnSpc>
                <a:spcPct val="25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62626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Our objective is to incorporate the illustrative investigation, appropriate perception, model particular, model fitting and determination, analytic checking, and understanding of the Hungary Chickenpox dataset.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262626"/>
              </a:solidFill>
              <a:effectLst/>
              <a:latin typeface="Trebuchet MS" panose="020B0603020202020204" pitchFamily="34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86098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18E43-DDE8-510B-3D27-18195762F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3" y="744221"/>
            <a:ext cx="11188699" cy="698500"/>
          </a:xfrm>
        </p:spPr>
        <p:txBody>
          <a:bodyPr/>
          <a:lstStyle/>
          <a:p>
            <a:pPr algn="ctr"/>
            <a:r>
              <a:rPr lang="en-US" sz="3200" dirty="0">
                <a:latin typeface="Trebuchet MS" panose="020B0603020202020204" pitchFamily="34" charset="0"/>
              </a:rPr>
              <a:t>Model Forecast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5CFCB82-678F-476F-8E79-98E023592A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66419" y="1609003"/>
            <a:ext cx="8847582" cy="4504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92594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BBA703-D2A0-4088-EBB0-9FFF2DA7EA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703581"/>
            <a:ext cx="11188699" cy="698500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Validating the Forecast</a:t>
            </a:r>
            <a:br>
              <a:rPr lang="en-US" sz="1800" dirty="0">
                <a:solidFill>
                  <a:srgbClr val="595959"/>
                </a:solidFill>
                <a:effectLst/>
                <a:latin typeface="Constantia" panose="02030602050306030303" pitchFamily="18" charset="0"/>
                <a:ea typeface="Constantia" panose="02030602050306030303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FA57322-45F9-A24F-FEB8-FB5ECA1297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90407" y="2468880"/>
            <a:ext cx="8779114" cy="115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42868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750A5-199A-BA03-A2DF-2C1FADD0D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70" y="866141"/>
            <a:ext cx="11188699" cy="698500"/>
          </a:xfrm>
        </p:spPr>
        <p:txBody>
          <a:bodyPr/>
          <a:lstStyle/>
          <a:p>
            <a:pPr algn="ctr"/>
            <a:r>
              <a:rPr lang="en-US" sz="3200" dirty="0">
                <a:latin typeface="Trebuchet MS" panose="020B0603020202020204" pitchFamily="34" charset="0"/>
              </a:rPr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982810-9553-6505-888F-6483B3C7D9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Based on the r2_score, which arrived at 89.76%, we concluded that the model selected by us has 89.76% accuracy. </a:t>
            </a:r>
          </a:p>
          <a:p>
            <a:pPr marL="342900" indent="-34290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The RMSE value of </a:t>
            </a:r>
            <a:r>
              <a:rPr lang="en-US" sz="2000" b="1" dirty="0">
                <a:solidFill>
                  <a:srgbClr val="595959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0.3586 which is not high. </a:t>
            </a:r>
          </a:p>
          <a:p>
            <a:pPr marL="342900" indent="-34290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595959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We can be confident about the model’s ability to predict Hungarian Chickenpox in futur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497194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A00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98717" y="3083596"/>
            <a:ext cx="499456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!</a:t>
            </a:r>
            <a:endParaRPr kumimoji="0" lang="en-IN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3269" y="0"/>
            <a:ext cx="2120400" cy="106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61255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45686C-2DD8-5AB2-6595-9B565FEBD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raft for discussion: ver-7 13th Nov 2019 15:45 hours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E80A49-D3C9-E5FC-3D43-FA11243E94D3}"/>
              </a:ext>
            </a:extLst>
          </p:cNvPr>
          <p:cNvSpPr txBox="1"/>
          <p:nvPr/>
        </p:nvSpPr>
        <p:spPr>
          <a:xfrm>
            <a:off x="787400" y="1158240"/>
            <a:ext cx="106172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3200" dirty="0">
                <a:solidFill>
                  <a:srgbClr val="313131"/>
                </a:solidFill>
                <a:latin typeface="Trebuchet MS" panose="020B0603020202020204" pitchFamily="34" charset="0"/>
              </a:rPr>
              <a:t>Datase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F938A0-FBBB-FD31-D24F-B2635E49F911}"/>
              </a:ext>
            </a:extLst>
          </p:cNvPr>
          <p:cNvSpPr txBox="1"/>
          <p:nvPr/>
        </p:nvSpPr>
        <p:spPr>
          <a:xfrm>
            <a:off x="1341120" y="2326640"/>
            <a:ext cx="9652000" cy="25083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We have selected Hungarian Chickenpox Dataset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262626"/>
              </a:solidFill>
              <a:latin typeface="Trebuchet MS" panose="020B0603020202020204" pitchFamily="34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Data Source: </a:t>
            </a:r>
            <a:r>
              <a:rPr lang="en-US" sz="2000" u="sng" dirty="0"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chive.ics.uci.edu/ml/datasets/Hungarian+Chickenpox+Cases</a:t>
            </a:r>
            <a:endParaRPr lang="en-US" sz="2000" u="sng" dirty="0">
              <a:effectLst/>
              <a:latin typeface="Trebuchet MS" panose="020B0603020202020204" pitchFamily="34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2000" u="sng" dirty="0">
              <a:latin typeface="Trebuchet MS" panose="020B0603020202020204" pitchFamily="34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sz="2000" dirty="0">
              <a:effectLst/>
              <a:latin typeface="Trebuchet MS" panose="020B0603020202020204" pitchFamily="34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�"/>
            </a:pP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27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4337" y="1064390"/>
            <a:ext cx="8363325" cy="431514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Data Exploration</a:t>
            </a:r>
            <a:br>
              <a:rPr lang="en-US" sz="1800" dirty="0">
                <a:solidFill>
                  <a:srgbClr val="595959"/>
                </a:solidFill>
                <a:effectLst/>
                <a:latin typeface="Constantia" panose="02030602050306030303" pitchFamily="18" charset="0"/>
                <a:ea typeface="Constantia" panose="02030602050306030303" pitchFamily="18" charset="0"/>
                <a:cs typeface="Times New Roman" panose="02020603050405020304" pitchFamily="18" charset="0"/>
              </a:rPr>
            </a:br>
            <a:endParaRPr lang="en-IN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17601" y="2270016"/>
            <a:ext cx="9463600" cy="4160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 defTabSz="829178">
              <a:lnSpc>
                <a:spcPct val="150000"/>
              </a:lnSpc>
              <a:spcBef>
                <a:spcPts val="544"/>
              </a:spcBef>
              <a:spcAft>
                <a:spcPts val="544"/>
              </a:spcAft>
              <a:defRPr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2" name="Freeform 97"/>
          <p:cNvSpPr>
            <a:spLocks/>
          </p:cNvSpPr>
          <p:nvPr/>
        </p:nvSpPr>
        <p:spPr bwMode="auto">
          <a:xfrm rot="10800000">
            <a:off x="283634" y="6620512"/>
            <a:ext cx="833967" cy="212127"/>
          </a:xfrm>
          <a:custGeom>
            <a:avLst/>
            <a:gdLst/>
            <a:ahLst/>
            <a:cxnLst>
              <a:cxn ang="0">
                <a:pos x="82" y="9"/>
              </a:cxn>
              <a:cxn ang="0">
                <a:pos x="127" y="27"/>
              </a:cxn>
              <a:cxn ang="0">
                <a:pos x="151" y="50"/>
              </a:cxn>
              <a:cxn ang="0">
                <a:pos x="0" y="50"/>
              </a:cxn>
              <a:cxn ang="0">
                <a:pos x="35" y="18"/>
              </a:cxn>
              <a:cxn ang="0">
                <a:pos x="82" y="9"/>
              </a:cxn>
            </a:cxnLst>
            <a:rect l="0" t="0" r="r" b="b"/>
            <a:pathLst>
              <a:path w="151" h="50">
                <a:moveTo>
                  <a:pt x="82" y="9"/>
                </a:moveTo>
                <a:cubicBezTo>
                  <a:pt x="98" y="4"/>
                  <a:pt x="113" y="9"/>
                  <a:pt x="127" y="27"/>
                </a:cubicBezTo>
                <a:cubicBezTo>
                  <a:pt x="139" y="26"/>
                  <a:pt x="147" y="33"/>
                  <a:pt x="151" y="50"/>
                </a:cubicBezTo>
                <a:cubicBezTo>
                  <a:pt x="0" y="50"/>
                  <a:pt x="0" y="50"/>
                  <a:pt x="0" y="50"/>
                </a:cubicBezTo>
                <a:cubicBezTo>
                  <a:pt x="3" y="33"/>
                  <a:pt x="15" y="22"/>
                  <a:pt x="35" y="18"/>
                </a:cubicBezTo>
                <a:cubicBezTo>
                  <a:pt x="49" y="3"/>
                  <a:pt x="65" y="0"/>
                  <a:pt x="82" y="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3754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C0FF72-8CB7-F3C1-D621-6C2E2822F802}"/>
              </a:ext>
            </a:extLst>
          </p:cNvPr>
          <p:cNvSpPr txBox="1"/>
          <p:nvPr/>
        </p:nvSpPr>
        <p:spPr>
          <a:xfrm>
            <a:off x="1330960" y="2042160"/>
            <a:ext cx="9250241" cy="44165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buSzPct val="100000"/>
            </a:pPr>
            <a:r>
              <a:rPr lang="en-US" sz="2400" dirty="0">
                <a:solidFill>
                  <a:srgbClr val="313131"/>
                </a:solidFill>
              </a:rPr>
              <a:t>Properties of Dataset:</a:t>
            </a: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2400" dirty="0">
                <a:solidFill>
                  <a:srgbClr val="313131"/>
                </a:solidFill>
              </a:rPr>
              <a:t>Trend</a:t>
            </a: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24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Changing Variance</a:t>
            </a:r>
            <a:endParaRPr lang="en-US" sz="2400" dirty="0">
              <a:solidFill>
                <a:srgbClr val="313131"/>
              </a:solidFill>
              <a:effectLst/>
              <a:latin typeface="Trebuchet MS" panose="020B0603020202020204" pitchFamily="34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2400" dirty="0" err="1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Behaviour</a:t>
            </a:r>
            <a:endParaRPr lang="en-US" sz="2400" dirty="0">
              <a:solidFill>
                <a:srgbClr val="313131"/>
              </a:solidFill>
              <a:latin typeface="Trebuchet MS" panose="020B0603020202020204" pitchFamily="34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24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Change Point</a:t>
            </a: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24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Seasonality</a:t>
            </a:r>
            <a:endParaRPr lang="en-US" sz="2400" dirty="0">
              <a:solidFill>
                <a:srgbClr val="313131"/>
              </a:solidFill>
              <a:effectLst/>
              <a:latin typeface="Trebuchet MS" panose="020B0603020202020204" pitchFamily="34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�"/>
            </a:pPr>
            <a:endParaRPr lang="en-US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�"/>
            </a:pP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25541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494BC-DC19-19ED-7316-BCFDCC27F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3" y="683261"/>
            <a:ext cx="11188699" cy="698500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Moving Average</a:t>
            </a:r>
            <a:br>
              <a:rPr lang="en-US" sz="1800" dirty="0">
                <a:solidFill>
                  <a:srgbClr val="595959"/>
                </a:solidFill>
                <a:effectLst/>
                <a:latin typeface="Constantia" panose="02030602050306030303" pitchFamily="18" charset="0"/>
                <a:ea typeface="Constantia" panose="02030602050306030303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9DFC9DA-F6FA-18A5-AC52-1320524BB8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1051" y="1572966"/>
            <a:ext cx="7752709" cy="4440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76604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0EDAEA-983B-3141-CA10-2E1B90FA3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3" y="723901"/>
            <a:ext cx="11188699" cy="698500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Testing the Stationarity of the Dataset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5C490D-B80A-38AB-8E53-1E61962D5A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2400" b="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Augmented Dickey Fuller test (ADF Test)</a:t>
            </a:r>
            <a:r>
              <a:rPr lang="en-US" sz="2400" b="0" dirty="0">
                <a:solidFill>
                  <a:srgbClr val="313131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 is taken of the dataset</a:t>
            </a: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2400" b="0" dirty="0">
                <a:solidFill>
                  <a:srgbClr val="313131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Taking Log and differencing:</a:t>
            </a: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endParaRPr lang="en-US" sz="2400" b="0" dirty="0">
              <a:solidFill>
                <a:srgbClr val="31313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D2BAF8-D9CC-2CC1-2DF8-CF2F33C50A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5280" y="3068319"/>
            <a:ext cx="5486400" cy="2680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2404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2990F-D7B8-1BAC-FDE0-293816AE5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091" y="673101"/>
            <a:ext cx="11188699" cy="698500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Partial Autocorrelation and Autocorrelation</a:t>
            </a:r>
            <a:br>
              <a:rPr lang="en-US" sz="3200" dirty="0">
                <a:solidFill>
                  <a:srgbClr val="595959"/>
                </a:solidFill>
                <a:effectLst/>
                <a:latin typeface="Constantia" panose="02030602050306030303" pitchFamily="18" charset="0"/>
                <a:ea typeface="Constantia" panose="02030602050306030303" pitchFamily="18" charset="0"/>
                <a:cs typeface="Times New Roman" panose="02020603050405020304" pitchFamily="18" charset="0"/>
              </a:rPr>
            </a:br>
            <a:br>
              <a:rPr lang="en-US" sz="1800" dirty="0">
                <a:solidFill>
                  <a:srgbClr val="595959"/>
                </a:solidFill>
                <a:effectLst/>
                <a:latin typeface="Constantia" panose="02030602050306030303" pitchFamily="18" charset="0"/>
                <a:ea typeface="Constantia" panose="02030602050306030303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4D5988-DBFB-0431-957E-97D80DD7D2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To identify pattern and trend in data Partial Autocorrelation and Correlation do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595959"/>
              </a:solidFill>
              <a:effectLst/>
              <a:latin typeface="Trebuchet MS" panose="020B0603020202020204" pitchFamily="34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C3B8AFB-FAC5-9BA3-B710-96F5F970D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430" y="2728595"/>
            <a:ext cx="4260850" cy="28313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CD8C714-3C86-E75B-3E47-154927E096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8722" y="2680221"/>
            <a:ext cx="4260848" cy="2798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17217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107F2C-123D-A1BC-46A5-2F3D228B9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3" y="673101"/>
            <a:ext cx="11188699" cy="698500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SARIMA Model</a:t>
            </a:r>
            <a:br>
              <a:rPr lang="en-US" sz="1800" dirty="0">
                <a:solidFill>
                  <a:srgbClr val="595959"/>
                </a:solidFill>
                <a:effectLst/>
                <a:latin typeface="Constantia" panose="02030602050306030303" pitchFamily="18" charset="0"/>
                <a:ea typeface="Constantia" panose="02030602050306030303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71D26B-1E0D-FD37-D7BA-1B82702234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The model’s notation is SARIMA(p, d, q) (P, D, Q)la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These three parameters account for seasonality, trend, and noise in data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62626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After performing multiple iterations, the model that gives AIC and BIC values lowest is the best combination. Below given are the values of p and q for which we have done iteration in co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595959"/>
              </a:solidFill>
              <a:effectLst/>
              <a:latin typeface="Constantia" panose="02030602050306030303" pitchFamily="18" charset="0"/>
              <a:ea typeface="Constantia" panose="02030602050306030303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0B21722-23AE-3988-AEC7-089AABB97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360801"/>
              </p:ext>
            </p:extLst>
          </p:nvPr>
        </p:nvGraphicFramePr>
        <p:xfrm>
          <a:off x="2999106" y="3837083"/>
          <a:ext cx="6226175" cy="19834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40075">
                  <a:extLst>
                    <a:ext uri="{9D8B030D-6E8A-4147-A177-3AD203B41FA5}">
                      <a16:colId xmlns:a16="http://schemas.microsoft.com/office/drawing/2014/main" val="167677453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930463668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082478963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629479327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val="19078243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-58420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ARIMA (p,0,q)x(2,1,1)</a:t>
                      </a:r>
                      <a:r>
                        <a:rPr lang="en-US" sz="700" dirty="0">
                          <a:effectLst/>
                        </a:rPr>
                        <a:t>12</a:t>
                      </a:r>
                      <a:endParaRPr lang="en-US" sz="1100" dirty="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AIC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BIC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MSE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MSE</a:t>
                      </a:r>
                      <a:endParaRPr lang="en-US" sz="1100" dirty="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999013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ARIMA (1,0,2)x(2,1,1)</a:t>
                      </a:r>
                      <a:r>
                        <a:rPr lang="en-US" sz="700" dirty="0">
                          <a:effectLst/>
                        </a:rPr>
                        <a:t>12</a:t>
                      </a:r>
                      <a:endParaRPr lang="en-US" sz="1100" dirty="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64.244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82.687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128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358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211875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ARIMA (2,0,2)x(2,1,1)</a:t>
                      </a:r>
                      <a:r>
                        <a:rPr lang="en-US" sz="700">
                          <a:effectLst/>
                        </a:rPr>
                        <a:t>12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65.202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86.280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128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358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17686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ARIMA (0,0,2)x(2,1,1)</a:t>
                      </a:r>
                      <a:r>
                        <a:rPr lang="en-US" sz="700">
                          <a:effectLst/>
                        </a:rPr>
                        <a:t>12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76.129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91.937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154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392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02121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ARIMA (0,0,3)x(2,1,1)</a:t>
                      </a:r>
                      <a:r>
                        <a:rPr lang="en-US" sz="700">
                          <a:effectLst/>
                        </a:rPr>
                        <a:t>12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72.132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90.575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137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371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639986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ARIMA (1,0,0)x(2,1,1)</a:t>
                      </a:r>
                      <a:r>
                        <a:rPr lang="en-US" sz="700">
                          <a:effectLst/>
                        </a:rPr>
                        <a:t>12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95.853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09.026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0.199</a:t>
                      </a:r>
                      <a:endParaRPr lang="en-US" sz="1100" dirty="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446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925330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ARIMA (1,0,1)x(2,1,1)</a:t>
                      </a:r>
                      <a:r>
                        <a:rPr lang="en-US" sz="700">
                          <a:effectLst/>
                        </a:rPr>
                        <a:t>12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75.407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91.215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0.153</a:t>
                      </a:r>
                      <a:endParaRPr lang="en-US" sz="110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0.392</a:t>
                      </a:r>
                      <a:endParaRPr lang="en-US" sz="1100" dirty="0">
                        <a:solidFill>
                          <a:srgbClr val="595959"/>
                        </a:solidFill>
                        <a:effectLst/>
                        <a:latin typeface="Constantia" panose="02030602050306030303" pitchFamily="18" charset="0"/>
                        <a:ea typeface="Constantia" panose="020306020503060303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06938984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498F6247-BF5D-3F93-494F-D166B29EF8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1273" y="3543392"/>
            <a:ext cx="62261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1" i="0" u="none" strike="noStrike" cap="none" normalizeH="0" baseline="0" dirty="0">
                <a:ln>
                  <a:noFill/>
                </a:ln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Table-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371263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63BF9A-F9F1-849E-C380-2F6C43ACA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3" y="764541"/>
            <a:ext cx="11188699" cy="698500"/>
          </a:xfrm>
        </p:spPr>
        <p:txBody>
          <a:bodyPr/>
          <a:lstStyle/>
          <a:p>
            <a:pPr algn="ctr"/>
            <a:r>
              <a:rPr lang="en-US" sz="3200" dirty="0"/>
              <a:t>Result </a:t>
            </a:r>
            <a:r>
              <a:rPr lang="en-US" sz="32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of SARIMA Model after running Python Code</a:t>
            </a:r>
            <a:br>
              <a:rPr lang="en-US" sz="1800" dirty="0">
                <a:solidFill>
                  <a:srgbClr val="595959"/>
                </a:solidFill>
                <a:effectLst/>
                <a:latin typeface="Constantia" panose="02030602050306030303" pitchFamily="18" charset="0"/>
                <a:ea typeface="Constantia" panose="02030602050306030303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4AE2F6B-ECC4-229C-C7CB-0D926CFD6E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73720" y="1381760"/>
            <a:ext cx="7833880" cy="5292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9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19B659-83C3-C4CD-FAE3-3725AF4E6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411" y="805181"/>
            <a:ext cx="11188699" cy="698500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rgbClr val="262626"/>
                </a:solidFill>
                <a:effectLst/>
                <a:latin typeface="Trebuchet MS" panose="020B0603020202020204" pitchFamily="34" charset="0"/>
                <a:ea typeface="Constantia" panose="02030602050306030303" pitchFamily="18" charset="0"/>
                <a:cs typeface="Times New Roman" panose="02020603050405020304" pitchFamily="18" charset="0"/>
              </a:rPr>
              <a:t>Visualization of Result</a:t>
            </a:r>
            <a:br>
              <a:rPr lang="en-US" sz="1800" dirty="0">
                <a:solidFill>
                  <a:srgbClr val="595959"/>
                </a:solidFill>
                <a:effectLst/>
                <a:latin typeface="Constantia" panose="02030602050306030303" pitchFamily="18" charset="0"/>
                <a:ea typeface="Constantia" panose="02030602050306030303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BF709EF-8710-4FBF-E333-DE31708F4F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70899" y="1724701"/>
            <a:ext cx="5626389" cy="4597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33644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eloi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oposal (print).potx" id="{E45B778A-39F9-462A-8DB8-EE5148C425B8}" vid="{9FD99013-1F1C-4317-AAD3-7B13D2FB964F}"/>
    </a:ext>
  </a:extLst>
</a:theme>
</file>

<file path=ppt/theme/theme2.xml><?xml version="1.0" encoding="utf-8"?>
<a:theme xmlns:a="http://schemas.openxmlformats.org/drawingml/2006/main" name="1_Blank">
  <a:themeElements>
    <a:clrScheme name="Deloi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oposal (print).potx" id="{E45B778A-39F9-462A-8DB8-EE5148C425B8}" vid="{9FD99013-1F1C-4317-AAD3-7B13D2FB964F}"/>
    </a:ext>
  </a:extLst>
</a:theme>
</file>

<file path=ppt/theme/theme3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300F3ED9-9C4C-4838-B157-107BB206E623}" vid="{ABD9136E-862F-4680-B56C-E8832C898BE1}"/>
    </a:ext>
  </a:extLst>
</a:theme>
</file>

<file path=ppt/theme/theme4.xml><?xml version="1.0" encoding="utf-8"?>
<a:theme xmlns:a="http://schemas.openxmlformats.org/drawingml/2006/main" name="2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300F3ED9-9C4C-4838-B157-107BB206E623}" vid="{ABD9136E-862F-4680-B56C-E8832C898BE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and Refresh 2016</Template>
  <TotalTime>25935</TotalTime>
  <Words>389</Words>
  <Application>Microsoft Office PowerPoint</Application>
  <PresentationFormat>Widescreen</PresentationFormat>
  <Paragraphs>74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</vt:lpstr>
      <vt:lpstr>Calibri</vt:lpstr>
      <vt:lpstr>Constantia</vt:lpstr>
      <vt:lpstr>Open Sans</vt:lpstr>
      <vt:lpstr>Trebuchet MS</vt:lpstr>
      <vt:lpstr>Verdana</vt:lpstr>
      <vt:lpstr>Wingdings 2</vt:lpstr>
      <vt:lpstr>Blank</vt:lpstr>
      <vt:lpstr>1_Blank</vt:lpstr>
      <vt:lpstr>Deloitte 16_9 onscreen</vt:lpstr>
      <vt:lpstr>2_Deloitte 16_9 onscreen</vt:lpstr>
      <vt:lpstr>think-cell Slide</vt:lpstr>
      <vt:lpstr>Introduction</vt:lpstr>
      <vt:lpstr>PowerPoint Presentation</vt:lpstr>
      <vt:lpstr>Data Exploration </vt:lpstr>
      <vt:lpstr>Moving Average </vt:lpstr>
      <vt:lpstr>Testing the Stationarity of the Dataset</vt:lpstr>
      <vt:lpstr>Partial Autocorrelation and Autocorrelation  </vt:lpstr>
      <vt:lpstr>SARIMA Model </vt:lpstr>
      <vt:lpstr>Result of SARIMA Model after running Python Code </vt:lpstr>
      <vt:lpstr>Visualization of Result </vt:lpstr>
      <vt:lpstr>Model Forecast</vt:lpstr>
      <vt:lpstr>Validating the Forecast </vt:lpstr>
      <vt:lpstr>Conclus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creator>Latta, Steve;Badhwar, Nupur</dc:creator>
  <cp:lastModifiedBy>Pranit Malik (23PGAI)</cp:lastModifiedBy>
  <cp:revision>348</cp:revision>
  <cp:lastPrinted>2014-06-25T02:16:22Z</cp:lastPrinted>
  <dcterms:created xsi:type="dcterms:W3CDTF">2016-04-23T12:13:04Z</dcterms:created>
  <dcterms:modified xsi:type="dcterms:W3CDTF">2023-02-24T06:58:35Z</dcterms:modified>
</cp:coreProperties>
</file>